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61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3FF"/>
    <a:srgbClr val="81DAFF"/>
    <a:srgbClr val="9BE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3D15CFF1-666B-4737-9425-6893B30B20E0}" v="136" dt="2022-11-24T08:13:14.960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D15CFF1-666B-4737-9425-6893B30B20E0}"/>
    <pc:docChg chg="custSel modSld">
      <pc:chgData name="Andrea Evrard Comas" userId="133e4c92-0019-454e-a908-a8ccb959cd34" providerId="ADAL" clId="{3D15CFF1-666B-4737-9425-6893B30B20E0}" dt="2022-11-24T08:13:04.198" v="7" actId="1076"/>
      <pc:docMkLst>
        <pc:docMk/>
      </pc:docMkLst>
      <pc:sldChg chg="modSp mod">
        <pc:chgData name="Andrea Evrard Comas" userId="133e4c92-0019-454e-a908-a8ccb959cd34" providerId="ADAL" clId="{3D15CFF1-666B-4737-9425-6893B30B20E0}" dt="2022-11-23T18:59:45.603" v="1" actId="20577"/>
        <pc:sldMkLst>
          <pc:docMk/>
          <pc:sldMk cId="80354386" sldId="2147470720"/>
        </pc:sldMkLst>
        <pc:spChg chg="mod">
          <ac:chgData name="Andrea Evrard Comas" userId="133e4c92-0019-454e-a908-a8ccb959cd34" providerId="ADAL" clId="{3D15CFF1-666B-4737-9425-6893B30B20E0}" dt="2022-11-23T18:59:45.603" v="1" actId="20577"/>
          <ac:spMkLst>
            <pc:docMk/>
            <pc:sldMk cId="80354386" sldId="2147470720"/>
            <ac:spMk id="3" creationId="{3F7A1489-7706-4945-BA01-D10FC7C37D24}"/>
          </ac:spMkLst>
        </pc:spChg>
      </pc:sldChg>
      <pc:sldChg chg="addSp delSp modSp mod">
        <pc:chgData name="Andrea Evrard Comas" userId="133e4c92-0019-454e-a908-a8ccb959cd34" providerId="ADAL" clId="{3D15CFF1-666B-4737-9425-6893B30B20E0}" dt="2022-11-24T08:13:04.198" v="7" actId="1076"/>
        <pc:sldMkLst>
          <pc:docMk/>
          <pc:sldMk cId="2927836606" sldId="2147470723"/>
        </pc:sldMkLst>
        <pc:picChg chg="add mod">
          <ac:chgData name="Andrea Evrard Comas" userId="133e4c92-0019-454e-a908-a8ccb959cd34" providerId="ADAL" clId="{3D15CFF1-666B-4737-9425-6893B30B20E0}" dt="2022-11-24T08:13:04.198" v="7" actId="1076"/>
          <ac:picMkLst>
            <pc:docMk/>
            <pc:sldMk cId="2927836606" sldId="2147470723"/>
            <ac:picMk id="3" creationId="{7D724D48-97D8-4781-ABFD-25AB436E3565}"/>
          </ac:picMkLst>
        </pc:picChg>
        <pc:picChg chg="del">
          <ac:chgData name="Andrea Evrard Comas" userId="133e4c92-0019-454e-a908-a8ccb959cd34" providerId="ADAL" clId="{3D15CFF1-666B-4737-9425-6893B30B20E0}" dt="2022-11-24T08:12:30.261" v="2" actId="478"/>
          <ac:picMkLst>
            <pc:docMk/>
            <pc:sldMk cId="2927836606" sldId="2147470723"/>
            <ac:picMk id="50" creationId="{B8631380-53BA-4B0F-9F3B-84F97AE29A0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3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25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/>
              <a:t>TEAM 2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020" y="114779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7696" y="1931760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81FD4DB-95BF-4E0E-AC16-9E82C50D41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3281" y="3025012"/>
            <a:ext cx="2597283" cy="29020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1519945" y="1512564"/>
            <a:ext cx="9514627" cy="3724466"/>
            <a:chOff x="1519945" y="1512564"/>
            <a:chExt cx="9514627" cy="37244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9945" y="1512564"/>
              <a:ext cx="3930852" cy="22543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45861" y="2296829"/>
              <a:ext cx="7988711" cy="29402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724D48-97D8-4781-ABFD-25AB436E3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0590" y="976483"/>
            <a:ext cx="9150820" cy="51310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387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4AD2E94-4B9B-405A-A936-FFA4D1ED2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335" y="1404708"/>
            <a:ext cx="1207957" cy="7228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r>
              <a:rPr lang="de-CH" sz="8000"/>
              <a:t>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511765" y="1404708"/>
            <a:ext cx="316992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D615A52-C2E4-4112-A794-3C231E76D35A}"/>
              </a:ext>
            </a:extLst>
          </p:cNvPr>
          <p:cNvSpPr txBox="1">
            <a:spLocks/>
          </p:cNvSpPr>
          <p:nvPr/>
        </p:nvSpPr>
        <p:spPr>
          <a:xfrm>
            <a:off x="6102335" y="1404708"/>
            <a:ext cx="1207957" cy="72285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8000"/>
              <a:t>2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7026265" y="1404708"/>
            <a:ext cx="374904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</p:spTree>
    <p:extLst>
      <p:ext uri="{BB962C8B-B14F-4D97-AF65-F5344CB8AC3E}">
        <p14:creationId xmlns:p14="http://schemas.microsoft.com/office/powerpoint/2010/main" val="3887058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6638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4</TotalTime>
  <Words>542</Words>
  <Application>Microsoft Office PowerPoint</Application>
  <PresentationFormat>Widescreen</PresentationFormat>
  <Paragraphs>80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 EY Interstate Light</vt:lpstr>
      <vt:lpstr>Arial</vt:lpstr>
      <vt:lpstr>Arial Narrow</vt:lpstr>
      <vt:lpstr>Calibri</vt:lpstr>
      <vt:lpstr>EYInterstate</vt:lpstr>
      <vt:lpstr>EY</vt:lpstr>
      <vt:lpstr>think-cell Slide</vt:lpstr>
      <vt:lpstr>Case Study: Regression</vt:lpstr>
      <vt:lpstr>PowerPoint Presentation</vt:lpstr>
      <vt:lpstr>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4T08:13:14Z</dcterms:modified>
</cp:coreProperties>
</file>